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8"/>
  </p:notesMasterIdLst>
  <p:handoutMasterIdLst>
    <p:handoutMasterId r:id="rId19"/>
  </p:handoutMasterIdLst>
  <p:sldIdLst>
    <p:sldId id="259" r:id="rId5"/>
    <p:sldId id="258" r:id="rId6"/>
    <p:sldId id="270" r:id="rId7"/>
    <p:sldId id="260" r:id="rId8"/>
    <p:sldId id="273" r:id="rId9"/>
    <p:sldId id="280" r:id="rId10"/>
    <p:sldId id="271" r:id="rId11"/>
    <p:sldId id="274" r:id="rId12"/>
    <p:sldId id="275" r:id="rId13"/>
    <p:sldId id="278" r:id="rId14"/>
    <p:sldId id="277" r:id="rId15"/>
    <p:sldId id="276" r:id="rId16"/>
    <p:sldId id="279" r:id="rId17"/>
  </p:sldIdLst>
  <p:sldSz cx="12192000" cy="6858000"/>
  <p:notesSz cx="6858000" cy="9144000"/>
  <p:custDataLst>
    <p:tags r:id="rId20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32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8" d="100"/>
          <a:sy n="68" d="100"/>
        </p:scale>
        <p:origin x="77" y="51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4" d="100"/>
          <a:sy n="94" d="100"/>
        </p:scale>
        <p:origin x="4068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>
            <a:extLst>
              <a:ext uri="{FF2B5EF4-FFF2-40B4-BE49-F238E27FC236}">
                <a16:creationId xmlns:a16="http://schemas.microsoft.com/office/drawing/2014/main" id="{B04B9EBC-5D97-42BF-B6EB-8E1B9C43771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BAE2037F-A1E2-4CCA-8629-3BDB2B3CEB1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403F91-E352-4BC0-865E-00C4B778E8F4}" type="datetimeFigureOut">
              <a:rPr lang="fi-FI" smtClean="0"/>
              <a:t>15.3.2024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314A672F-4E2F-4FD9-84E6-5C27D74926B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71937CE8-A32E-40B1-B45D-D4F2F4E546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A7C6AB-2EC7-448B-8841-68F14F13640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789855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B81401-98B2-4A2C-809B-B877EE2C7168}" type="datetimeFigureOut">
              <a:rPr lang="fi-FI" smtClean="0"/>
              <a:t>15.3.2024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EB9FF8-BAB1-4496-B899-A3D3A047A0D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798042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12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13.jpe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15.jpe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16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16.jpe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17.jpe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18.jpe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8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9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20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20.jpe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21.jpe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22.jpe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22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23.jpe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24.jpe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25.jpe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5" Type="http://schemas.openxmlformats.org/officeDocument/2006/relationships/image" Target="../media/image26.jpe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5" Type="http://schemas.openxmlformats.org/officeDocument/2006/relationships/image" Target="../media/image27.jpe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5" Type="http://schemas.openxmlformats.org/officeDocument/2006/relationships/image" Target="../media/image28.jpe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5" Type="http://schemas.openxmlformats.org/officeDocument/2006/relationships/image" Target="../media/image29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5" Type="http://schemas.openxmlformats.org/officeDocument/2006/relationships/image" Target="../media/image30.jpe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5" Type="http://schemas.openxmlformats.org/officeDocument/2006/relationships/image" Target="../media/image31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orakulmio 1">
            <a:extLst>
              <a:ext uri="{FF2B5EF4-FFF2-40B4-BE49-F238E27FC236}">
                <a16:creationId xmlns:a16="http://schemas.microsoft.com/office/drawing/2014/main" id="{DA6B326B-05AA-ED4E-C5D0-E67120EE64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992573" y="2374323"/>
            <a:ext cx="7929350" cy="183191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1067664"/>
            <a:ext cx="9051631" cy="1054678"/>
          </a:xfrm>
        </p:spPr>
        <p:txBody>
          <a:bodyPr vert="horz" anchor="b">
            <a:normAutofit/>
          </a:bodyPr>
          <a:lstStyle>
            <a:lvl1pPr algn="ctr">
              <a:defRPr sz="4000" b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>
            <a:extLst>
              <a:ext uri="{FF2B5EF4-FFF2-40B4-BE49-F238E27FC236}">
                <a16:creationId xmlns:a16="http://schemas.microsoft.com/office/drawing/2014/main" id="{D76CFEF7-FBD4-6542-22AF-08A3D9733DE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44684"/>
            <a:ext cx="12192000" cy="2651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3705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palstaa otsiko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5634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867376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BFAD4-1674-4CF2-B45B-8A6AE3267E70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ekstin paikkamerkki 2">
            <a:extLst>
              <a:ext uri="{FF2B5EF4-FFF2-40B4-BE49-F238E27FC236}">
                <a16:creationId xmlns:a16="http://schemas.microsoft.com/office/drawing/2014/main" id="{DB8E5AD2-AC49-41BF-8E8E-B9E708CF8B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2570" y="1825625"/>
            <a:ext cx="435684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2" name="Tekstin paikkamerkki 4">
            <a:extLst>
              <a:ext uri="{FF2B5EF4-FFF2-40B4-BE49-F238E27FC236}">
                <a16:creationId xmlns:a16="http://schemas.microsoft.com/office/drawing/2014/main" id="{682673EF-6749-45FF-934F-521AB8AF89D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123099" y="1825625"/>
            <a:ext cx="435684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3" name="Sisällön paikkamerkki 3">
            <a:extLst>
              <a:ext uri="{FF2B5EF4-FFF2-40B4-BE49-F238E27FC236}">
                <a16:creationId xmlns:a16="http://schemas.microsoft.com/office/drawing/2014/main" id="{144CFA57-DA64-4D38-8D84-371526158F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23099" y="2649537"/>
            <a:ext cx="4356848" cy="3527426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14" name="Sisällön paikkamerkki 3">
            <a:extLst>
              <a:ext uri="{FF2B5EF4-FFF2-40B4-BE49-F238E27FC236}">
                <a16:creationId xmlns:a16="http://schemas.microsoft.com/office/drawing/2014/main" id="{EA4B8D27-0B6D-4D93-BEA3-C8D021A54D4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2612570" y="2649537"/>
            <a:ext cx="4356848" cy="3527426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851370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960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56E71187-36AE-484F-BB17-5AEC7FEC5FA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04367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97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F0B70832-C857-4352-9AB3-07B0CEC30C8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0598766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4593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69DB39D1-E9DE-4768-B8E5-E053B3D9525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9480732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493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 descr="Kuva, joka sisältää kohteen projektori&#10;&#10;Kuvaus luotu automaattisesti">
            <a:extLst>
              <a:ext uri="{FF2B5EF4-FFF2-40B4-BE49-F238E27FC236}">
                <a16:creationId xmlns:a16="http://schemas.microsoft.com/office/drawing/2014/main" id="{1F6A6F5A-2B5A-4C9F-8B1D-C8C1B4F6F11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7879968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2627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7D072600-72AA-43DA-A6A5-4467A400B2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6769489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1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6971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nuoli&#10;&#10;Kuvaus luotu automaattisesti">
            <a:extLst>
              <a:ext uri="{FF2B5EF4-FFF2-40B4-BE49-F238E27FC236}">
                <a16:creationId xmlns:a16="http://schemas.microsoft.com/office/drawing/2014/main" id="{1076E750-FB3F-4D51-A144-AEF6A57EDC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CB9458-F8AF-497E-9F81-AD036D03DEDB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940445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1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5751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nuoli&#10;&#10;Kuvaus luotu automaattisesti">
            <a:extLst>
              <a:ext uri="{FF2B5EF4-FFF2-40B4-BE49-F238E27FC236}">
                <a16:creationId xmlns:a16="http://schemas.microsoft.com/office/drawing/2014/main" id="{1076E750-FB3F-4D51-A144-AEF6A57EDC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009661-B6A2-4FCB-BD74-92B50AB3778C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6CE89924-14C9-4296-ABC7-EBBCD552A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3" name="Tekstin paikkamerkki 3">
            <a:extLst>
              <a:ext uri="{FF2B5EF4-FFF2-40B4-BE49-F238E27FC236}">
                <a16:creationId xmlns:a16="http://schemas.microsoft.com/office/drawing/2014/main" id="{15A44A2E-E5B2-4E04-80E5-5944B427B0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4765508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1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1290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A64F9AF8-C832-478A-829F-2E210CB7E8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AAAD7-C136-4D1E-AF2E-19C7BA22B24F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4992102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2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139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27A65451-5E9A-4362-B56B-472B5EC62E1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27017-FB81-4058-9ED0-07FC92AC8426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064285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orakulmio 1">
            <a:extLst>
              <a:ext uri="{FF2B5EF4-FFF2-40B4-BE49-F238E27FC236}">
                <a16:creationId xmlns:a16="http://schemas.microsoft.com/office/drawing/2014/main" id="{DA6B326B-05AA-ED4E-C5D0-E67120EE64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" name="Suorakulmio 2">
            <a:extLst>
              <a:ext uri="{FF2B5EF4-FFF2-40B4-BE49-F238E27FC236}">
                <a16:creationId xmlns:a16="http://schemas.microsoft.com/office/drawing/2014/main" id="{353E8141-8598-D3E1-447A-71024BA35C90}"/>
              </a:ext>
            </a:extLst>
          </p:cNvPr>
          <p:cNvSpPr/>
          <p:nvPr userDrawn="1"/>
        </p:nvSpPr>
        <p:spPr>
          <a:xfrm>
            <a:off x="0" y="-2"/>
            <a:ext cx="12192002" cy="6912593"/>
          </a:xfrm>
          <a:prstGeom prst="rect">
            <a:avLst/>
          </a:prstGeom>
          <a:solidFill>
            <a:srgbClr val="117AA6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183642" y="2141468"/>
            <a:ext cx="7724633" cy="244418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689882"/>
            <a:ext cx="9051631" cy="1289043"/>
          </a:xfrm>
        </p:spPr>
        <p:txBody>
          <a:bodyPr vert="horz" anchor="b">
            <a:normAutofit/>
          </a:bodyPr>
          <a:lstStyle>
            <a:lvl1pPr algn="ctr">
              <a:defRPr sz="4000" b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>
            <a:extLst>
              <a:ext uri="{FF2B5EF4-FFF2-40B4-BE49-F238E27FC236}">
                <a16:creationId xmlns:a16="http://schemas.microsoft.com/office/drawing/2014/main" id="{D76CFEF7-FBD4-6542-22AF-08A3D9733DE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44684"/>
            <a:ext cx="12192000" cy="2651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7343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2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0731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Kuva 11">
            <a:extLst>
              <a:ext uri="{FF2B5EF4-FFF2-40B4-BE49-F238E27FC236}">
                <a16:creationId xmlns:a16="http://schemas.microsoft.com/office/drawing/2014/main" id="{BC0B16E9-3EA2-4500-8BB5-B551C527566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AE43D5-4913-4B12-8F1A-D77C9E7C9514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053A0229-BAFC-4889-A089-6AEF35F3A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6350BE49-FFA0-4D9E-B58E-CD5AA20BE0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0023524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2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361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0B3FA059-4826-40F7-A69B-9938401E2EB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BA3C4-84FB-423B-A833-1DD13600A864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984224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3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587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Kuva 14">
            <a:extLst>
              <a:ext uri="{FF2B5EF4-FFF2-40B4-BE49-F238E27FC236}">
                <a16:creationId xmlns:a16="http://schemas.microsoft.com/office/drawing/2014/main" id="{7FDD56A1-7DDE-49A6-9567-FDDE69B065D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AB70B-7C2E-4009-96C2-C9329400CE93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107468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3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202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Kuva 14">
            <a:extLst>
              <a:ext uri="{FF2B5EF4-FFF2-40B4-BE49-F238E27FC236}">
                <a16:creationId xmlns:a16="http://schemas.microsoft.com/office/drawing/2014/main" id="{259B10F8-B6DC-4B68-998C-8044E40EBE0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AB408-7E6A-4561-A965-EDE232A4655D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2746994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3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1677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Kuva 9">
            <a:extLst>
              <a:ext uri="{FF2B5EF4-FFF2-40B4-BE49-F238E27FC236}">
                <a16:creationId xmlns:a16="http://schemas.microsoft.com/office/drawing/2014/main" id="{C9CF7A8C-CE21-4C7A-A00A-F77810DA90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9925B-DA76-45EB-B569-214FB920AC23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3949959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4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9787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Kuva 11" descr="Kuva, joka sisältää kohteen nuoli&#10;&#10;Kuvaus luotu automaattisesti">
            <a:extLst>
              <a:ext uri="{FF2B5EF4-FFF2-40B4-BE49-F238E27FC236}">
                <a16:creationId xmlns:a16="http://schemas.microsoft.com/office/drawing/2014/main" id="{87376913-E50E-4387-9E96-C5E04E43BF0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3A492-0714-4886-B211-87CBBA09BAA6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997925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4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4042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 descr="Kuva, joka sisältää kohteen nuoli&#10;&#10;Kuvaus luotu automaattisesti">
            <a:extLst>
              <a:ext uri="{FF2B5EF4-FFF2-40B4-BE49-F238E27FC236}">
                <a16:creationId xmlns:a16="http://schemas.microsoft.com/office/drawing/2014/main" id="{8129CBB7-CA95-4DB5-BA28-C36DB59D895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DBCB3-DE3E-4E88-A776-8A852B77D7ED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42524232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4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612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2D9143B0-048A-4677-98A2-9C8E5C0077F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726563-8E94-456C-AB1A-BC730F03108B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8006913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5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9558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4945E664-5DB1-4537-B836-CD53F16D6C5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655EB4-BFD9-4BD5-B3DE-197159AF66A2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77792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5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029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>
            <a:extLst>
              <a:ext uri="{FF2B5EF4-FFF2-40B4-BE49-F238E27FC236}">
                <a16:creationId xmlns:a16="http://schemas.microsoft.com/office/drawing/2014/main" id="{9FCF73B0-126B-453B-9EA7-F5AB6B42322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F45808-44CB-4246-A8C2-12D8E3391149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5189898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 2" descr="Kuva, joka sisältää kohteen henkilö, seinä, seisominen, sininen&#10;&#10;Kuvaus luotu automaattisesti">
            <a:extLst>
              <a:ext uri="{FF2B5EF4-FFF2-40B4-BE49-F238E27FC236}">
                <a16:creationId xmlns:a16="http://schemas.microsoft.com/office/drawing/2014/main" id="{80D85BD0-2F8F-4762-B2DB-FA172DDF23E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30244" y="3802314"/>
            <a:ext cx="3993137" cy="1613647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46258" y="1328057"/>
            <a:ext cx="4577123" cy="2034348"/>
          </a:xfrm>
        </p:spPr>
        <p:txBody>
          <a:bodyPr vert="horz" anchor="b">
            <a:normAutofit/>
          </a:bodyPr>
          <a:lstStyle>
            <a:lvl1pPr algn="r">
              <a:defRPr sz="44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uora yhdysviiva 5">
            <a:extLst>
              <a:ext uri="{FF2B5EF4-FFF2-40B4-BE49-F238E27FC236}">
                <a16:creationId xmlns:a16="http://schemas.microsoft.com/office/drawing/2014/main" id="{179E9D39-75CF-430E-A0F1-7DEE53DD25E3}"/>
              </a:ext>
            </a:extLst>
          </p:cNvPr>
          <p:cNvCxnSpPr>
            <a:cxnSpLocks/>
          </p:cNvCxnSpPr>
          <p:nvPr userDrawn="1"/>
        </p:nvCxnSpPr>
        <p:spPr>
          <a:xfrm>
            <a:off x="9091101" y="3574473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01633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5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0163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1B3519DA-7254-4EAF-94F9-707A1108726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B7124-2A20-4688-9892-F5411985B26C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688660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osto/sitaatt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8298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AC71C887-6855-4E89-A710-FEA8506D6DB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</p:spTree>
    <p:extLst>
      <p:ext uri="{BB962C8B-B14F-4D97-AF65-F5344CB8AC3E}">
        <p14:creationId xmlns:p14="http://schemas.microsoft.com/office/powerpoint/2010/main" val="17283799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7818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C1413E65-1FC2-4106-AEF1-A00456FD8D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E6E2ED78-3D5B-473F-BCF0-111548C534F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06D2A48F-A03B-4638-8B46-A1FCCA31D1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3044771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3767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716E8CF5-015C-4FD3-8BB0-502BF8975EA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4A029B14-B9A6-465C-AEAD-B0E93AB26C5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6CF60A3C-77A3-4EFA-AFCA-36D7D38505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42401742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6202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1AE60BC4-2E88-4DC5-BEA2-177F4586E08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973D34D3-FF24-4809-8B1B-CCA9358AD97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C729F224-95F0-4AA3-BC77-5EB1336B01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15857643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7324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07BD73EF-DFB1-4164-B80E-F01AD87721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FF7D5B88-F627-46DD-8F5F-B0121EC0654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0B051EC7-E656-4E75-891D-E9117789F8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313756941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19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741230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2570" y="1825625"/>
            <a:ext cx="874123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D0A6-F645-4688-BBAF-B521945A26F4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A64BDFE0-23FD-4FB9-868E-275C440A977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061" y="2349000"/>
            <a:ext cx="2489314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9590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ppu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6545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Kuva 2" descr="Kuva, joka sisältää kohteen teksti&#10;&#10;Kuvaus luotu automaattisesti">
            <a:extLst>
              <a:ext uri="{FF2B5EF4-FFF2-40B4-BE49-F238E27FC236}">
                <a16:creationId xmlns:a16="http://schemas.microsoft.com/office/drawing/2014/main" id="{F259D9A4-6AF6-4C23-A391-60D757A78FE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9228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ppu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5269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2D5528BD-CFA5-4BDD-A809-8999A6D97C1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8606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9861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henkilö, ulko, poika, nuori&#10;&#10;Kuvaus luotu automaattisesti">
            <a:extLst>
              <a:ext uri="{FF2B5EF4-FFF2-40B4-BE49-F238E27FC236}">
                <a16:creationId xmlns:a16="http://schemas.microsoft.com/office/drawing/2014/main" id="{D3579580-2FD9-4929-825A-30B349E6A5E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3495" y="1406178"/>
            <a:ext cx="4577123" cy="2034348"/>
          </a:xfrm>
        </p:spPr>
        <p:txBody>
          <a:bodyPr vert="horz" anchor="b">
            <a:norm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3495" y="3711387"/>
            <a:ext cx="3993137" cy="161364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11" name="Suora yhdysviiva 10">
            <a:extLst>
              <a:ext uri="{FF2B5EF4-FFF2-40B4-BE49-F238E27FC236}">
                <a16:creationId xmlns:a16="http://schemas.microsoft.com/office/drawing/2014/main" id="{9D21BD7C-487C-4713-A7A3-47CD927F5D03}"/>
              </a:ext>
            </a:extLst>
          </p:cNvPr>
          <p:cNvCxnSpPr>
            <a:cxnSpLocks/>
          </p:cNvCxnSpPr>
          <p:nvPr userDrawn="1"/>
        </p:nvCxnSpPr>
        <p:spPr>
          <a:xfrm>
            <a:off x="672576" y="3574473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8368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5327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 descr="Kuva, joka sisältää kohteen henkilö&#10;&#10;Kuvaus luotu automaattisesti">
            <a:extLst>
              <a:ext uri="{FF2B5EF4-FFF2-40B4-BE49-F238E27FC236}">
                <a16:creationId xmlns:a16="http://schemas.microsoft.com/office/drawing/2014/main" id="{8189FA21-91AF-4438-A231-043FFBDF0AA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3495" y="1682802"/>
            <a:ext cx="4577123" cy="2034348"/>
          </a:xfrm>
        </p:spPr>
        <p:txBody>
          <a:bodyPr vert="horz" anchor="b">
            <a:norm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3495" y="3988011"/>
            <a:ext cx="3993137" cy="161364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9" name="Suora yhdysviiva 8">
            <a:extLst>
              <a:ext uri="{FF2B5EF4-FFF2-40B4-BE49-F238E27FC236}">
                <a16:creationId xmlns:a16="http://schemas.microsoft.com/office/drawing/2014/main" id="{245E15B8-9654-43AE-AC81-8C1D900AD564}"/>
              </a:ext>
            </a:extLst>
          </p:cNvPr>
          <p:cNvCxnSpPr>
            <a:cxnSpLocks/>
          </p:cNvCxnSpPr>
          <p:nvPr userDrawn="1"/>
        </p:nvCxnSpPr>
        <p:spPr>
          <a:xfrm>
            <a:off x="672576" y="3853956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65821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104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B7054C96-6274-4344-8F1C-9D8B3F9EBDE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591089"/>
            <a:ext cx="9144000" cy="2387600"/>
          </a:xfrm>
        </p:spPr>
        <p:txBody>
          <a:bodyPr vert="horz" anchor="b">
            <a:normAutofit/>
          </a:bodyPr>
          <a:lstStyle>
            <a:lvl1pPr algn="ctr">
              <a:defRPr sz="5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395267"/>
            <a:ext cx="9144000" cy="156659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9" name="Suora yhdysviiva 8">
            <a:extLst>
              <a:ext uri="{FF2B5EF4-FFF2-40B4-BE49-F238E27FC236}">
                <a16:creationId xmlns:a16="http://schemas.microsoft.com/office/drawing/2014/main" id="{E4DA1EC6-FD96-4315-9EBD-2928B8B679DF}"/>
              </a:ext>
            </a:extLst>
          </p:cNvPr>
          <p:cNvCxnSpPr>
            <a:cxnSpLocks/>
          </p:cNvCxnSpPr>
          <p:nvPr userDrawn="1"/>
        </p:nvCxnSpPr>
        <p:spPr>
          <a:xfrm>
            <a:off x="4898211" y="4194149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06309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83BC1A8A-A3C3-4DC4-A71B-238228D24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4759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83BC1A8A-A3C3-4DC4-A71B-238228D24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Kuva 9">
            <a:extLst>
              <a:ext uri="{FF2B5EF4-FFF2-40B4-BE49-F238E27FC236}">
                <a16:creationId xmlns:a16="http://schemas.microsoft.com/office/drawing/2014/main" id="{13994B2C-6ECC-4E39-B141-20CC0B17B37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3F7BCA4F-9062-4B46-9FA2-755EDD857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468" y="1830722"/>
            <a:ext cx="5018363" cy="1642460"/>
          </a:xfrm>
        </p:spPr>
        <p:txBody>
          <a:bodyPr vert="horz" anchor="b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8B774BBC-BD18-4C6B-B972-A50EF26B2F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54266" y="701702"/>
            <a:ext cx="4856309" cy="5454597"/>
          </a:xfrm>
        </p:spPr>
        <p:txBody>
          <a:bodyPr anchor="ctr"/>
          <a:lstStyle>
            <a:lvl4pPr>
              <a:defRPr/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F5B6CC3-33F4-4CC1-81A3-6A2EC0F72F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244533" y="143813"/>
            <a:ext cx="2743200" cy="365125"/>
          </a:xfrm>
        </p:spPr>
        <p:txBody>
          <a:bodyPr/>
          <a:lstStyle>
            <a:lvl1pPr algn="r">
              <a:defRPr/>
            </a:lvl1pPr>
          </a:lstStyle>
          <a:p>
            <a:fld id="{C195E768-76B1-434E-9289-2595ECCB79C4}" type="datetime1">
              <a:rPr lang="fi-FI" smtClean="0"/>
              <a:t>15.3.2024</a:t>
            </a:fld>
            <a:endParaRPr lang="fi-FI" dirty="0"/>
          </a:p>
        </p:txBody>
      </p:sp>
      <p:sp>
        <p:nvSpPr>
          <p:cNvPr id="15" name="Dian numeron paikkamerkki 5">
            <a:extLst>
              <a:ext uri="{FF2B5EF4-FFF2-40B4-BE49-F238E27FC236}">
                <a16:creationId xmlns:a16="http://schemas.microsoft.com/office/drawing/2014/main" id="{484D391B-6EFF-4180-9E7A-334F2CB52EDE}"/>
              </a:ext>
            </a:extLst>
          </p:cNvPr>
          <p:cNvSpPr txBox="1">
            <a:spLocks/>
          </p:cNvSpPr>
          <p:nvPr userDrawn="1"/>
        </p:nvSpPr>
        <p:spPr>
          <a:xfrm>
            <a:off x="9206113" y="63119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i-FI"/>
            </a:defPPr>
            <a:lvl1pPr marL="0" algn="r" defTabSz="914400" rtl="0" eaLnBrk="1" latinLnBrk="0" hangingPunct="1">
              <a:defRPr sz="11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B37718-6688-4F18-A3A4-5BFEA6AE51A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3" name="Tekstin paikkamerkki 3">
            <a:extLst>
              <a:ext uri="{FF2B5EF4-FFF2-40B4-BE49-F238E27FC236}">
                <a16:creationId xmlns:a16="http://schemas.microsoft.com/office/drawing/2014/main" id="{EF4AC885-2B1D-41F5-80AC-E7E8B38926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61468" y="3622431"/>
            <a:ext cx="5018363" cy="2246556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42694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5322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741230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2570" y="1825625"/>
            <a:ext cx="874123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D0A6-F645-4688-BBAF-B521945A26F4}" type="datetime1">
              <a:rPr lang="fi-FI" smtClean="0"/>
              <a:t>15.3.2024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17470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336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867376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23099" y="1825625"/>
            <a:ext cx="4356848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6A09B5-4BD5-4BED-8EEC-68F2A4ACDD07}" type="datetime1">
              <a:rPr lang="fi-FI" smtClean="0"/>
              <a:t>15.3.2024</a:t>
            </a:fld>
            <a:endParaRPr lang="fi-FI" dirty="0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1" name="Sisällön paikkamerkki 3">
            <a:extLst>
              <a:ext uri="{FF2B5EF4-FFF2-40B4-BE49-F238E27FC236}">
                <a16:creationId xmlns:a16="http://schemas.microsoft.com/office/drawing/2014/main" id="{4FFC9929-2D4B-4FA7-A3FA-B826124BFBE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2612570" y="1825625"/>
            <a:ext cx="4356848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618585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2.jpe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99A5D101-E9BB-4459-960C-90D85F6203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3008327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421" imgH="423" progId="TCLayout.ActiveDocument.1">
                  <p:embed/>
                </p:oleObj>
              </mc:Choice>
              <mc:Fallback>
                <p:oleObj name="think-cell Slide" r:id="rId41" imgW="421" imgH="423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99A5D101-E9BB-4459-960C-90D85F6203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Kuva 27">
            <a:extLst>
              <a:ext uri="{FF2B5EF4-FFF2-40B4-BE49-F238E27FC236}">
                <a16:creationId xmlns:a16="http://schemas.microsoft.com/office/drawing/2014/main" id="{E9A01564-13CB-4203-95FC-74A153B35C14}"/>
              </a:ext>
            </a:extLst>
          </p:cNvPr>
          <p:cNvPicPr>
            <a:picLocks noChangeAspect="1"/>
          </p:cNvPicPr>
          <p:nvPr userDrawn="1"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C15BEBDC-D372-439D-BE3F-D0014E9F9A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04B3C6A2-8A7D-4D37-85A3-E38FFE7580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64B6028D-345E-4983-9377-3B51E8C6D9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06113" y="18739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33DB1DC-11BF-4585-868B-306EA823E62F}" type="datetime1">
              <a:rPr lang="fi-FI" smtClean="0"/>
              <a:t>15.3.2024</a:t>
            </a:fld>
            <a:endParaRPr lang="fi-FI" dirty="0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7F7B2924-DE79-4005-AE54-8E1CC0EEDC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06113" y="63119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6B37718-6688-4F18-A3A4-5BFEA6AE51A8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94880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674" r:id="rId3"/>
    <p:sldLayoutId id="2147483660" r:id="rId4"/>
    <p:sldLayoutId id="2147483673" r:id="rId5"/>
    <p:sldLayoutId id="2147483649" r:id="rId6"/>
    <p:sldLayoutId id="2147483650" r:id="rId7"/>
    <p:sldLayoutId id="2147483675" r:id="rId8"/>
    <p:sldLayoutId id="2147483652" r:id="rId9"/>
    <p:sldLayoutId id="2147483676" r:id="rId10"/>
    <p:sldLayoutId id="2147483651" r:id="rId11"/>
    <p:sldLayoutId id="2147483679" r:id="rId12"/>
    <p:sldLayoutId id="2147483680" r:id="rId13"/>
    <p:sldLayoutId id="2147483681" r:id="rId14"/>
    <p:sldLayoutId id="2147483682" r:id="rId15"/>
    <p:sldLayoutId id="2147483656" r:id="rId16"/>
    <p:sldLayoutId id="2147483677" r:id="rId17"/>
    <p:sldLayoutId id="2147483678" r:id="rId18"/>
    <p:sldLayoutId id="2147483683" r:id="rId19"/>
    <p:sldLayoutId id="2147483684" r:id="rId20"/>
    <p:sldLayoutId id="2147483685" r:id="rId21"/>
    <p:sldLayoutId id="2147483686" r:id="rId22"/>
    <p:sldLayoutId id="2147483687" r:id="rId23"/>
    <p:sldLayoutId id="2147483688" r:id="rId24"/>
    <p:sldLayoutId id="2147483689" r:id="rId25"/>
    <p:sldLayoutId id="2147483690" r:id="rId26"/>
    <p:sldLayoutId id="2147483691" r:id="rId27"/>
    <p:sldLayoutId id="2147483692" r:id="rId28"/>
    <p:sldLayoutId id="2147483693" r:id="rId29"/>
    <p:sldLayoutId id="2147483694" r:id="rId30"/>
    <p:sldLayoutId id="2147483695" r:id="rId31"/>
    <p:sldLayoutId id="2147483696" r:id="rId32"/>
    <p:sldLayoutId id="2147483697" r:id="rId33"/>
    <p:sldLayoutId id="2147483698" r:id="rId34"/>
    <p:sldLayoutId id="2147483699" r:id="rId35"/>
    <p:sldLayoutId id="2147483702" r:id="rId36"/>
    <p:sldLayoutId id="2147483700" r:id="rId37"/>
    <p:sldLayoutId id="2147483701" r:id="rId38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i-FI" sz="3600" b="1" kern="1200" dirty="0" smtClean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slideLayout" Target="../slideLayouts/slideLayout2.xml"/><Relationship Id="rId1" Type="http://schemas.openxmlformats.org/officeDocument/2006/relationships/video" Target="https://www.youtube.com/embed/FyVu77D0UwQ?start=3&amp;feature=oembed" TargetMode="Externa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utj&#228;mning.fi/" TargetMode="Externa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uva 1" descr="Kuva, joka sisältää kohteen henkilö, vaate, piha-, Ihmisen kasvot&#10;&#10;Kuvaus luotu automaattisesti">
            <a:extLst>
              <a:ext uri="{FF2B5EF4-FFF2-40B4-BE49-F238E27FC236}">
                <a16:creationId xmlns:a16="http://schemas.microsoft.com/office/drawing/2014/main" id="{0CFC2C4B-94E1-014A-8663-49632B8BF73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12" b="4687"/>
          <a:stretch/>
        </p:blipFill>
        <p:spPr>
          <a:xfrm>
            <a:off x="1" y="-208591"/>
            <a:ext cx="12192000" cy="7066591"/>
          </a:xfrm>
          <a:prstGeom prst="rect">
            <a:avLst/>
          </a:prstGeom>
        </p:spPr>
      </p:pic>
      <p:pic>
        <p:nvPicPr>
          <p:cNvPr id="11" name="Kuva 10" descr="Kuva, joka sisältää kohteen teksti&#10;&#10;Kuvaus luotu automaattisesti">
            <a:extLst>
              <a:ext uri="{FF2B5EF4-FFF2-40B4-BE49-F238E27FC236}">
                <a16:creationId xmlns:a16="http://schemas.microsoft.com/office/drawing/2014/main" id="{BD701DBF-6A50-024C-0C96-7A8346D573F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336" b="62993"/>
          <a:stretch/>
        </p:blipFill>
        <p:spPr>
          <a:xfrm>
            <a:off x="-382746" y="-1235609"/>
            <a:ext cx="7274866" cy="3684017"/>
          </a:xfrm>
          <a:prstGeom prst="rect">
            <a:avLst/>
          </a:prstGeom>
        </p:spPr>
      </p:pic>
      <p:pic>
        <p:nvPicPr>
          <p:cNvPr id="14" name="Kuva 13">
            <a:extLst>
              <a:ext uri="{FF2B5EF4-FFF2-40B4-BE49-F238E27FC236}">
                <a16:creationId xmlns:a16="http://schemas.microsoft.com/office/drawing/2014/main" id="{ECA66AA3-40DD-E857-E776-4600F26DAB2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09592"/>
            <a:ext cx="12192000" cy="2651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1312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ED9B53B-17CC-85E3-0BDA-03615A1E36D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08457" y="508775"/>
            <a:ext cx="6314371" cy="1057031"/>
          </a:xfrm>
        </p:spPr>
        <p:txBody>
          <a:bodyPr>
            <a:normAutofit/>
          </a:bodyPr>
          <a:lstStyle/>
          <a:p>
            <a:pPr algn="l"/>
            <a:r>
              <a:rPr lang="fi-FI" sz="3600" dirty="0"/>
              <a:t>För </a:t>
            </a:r>
            <a:r>
              <a:rPr lang="fi-FI" sz="3600" dirty="0" err="1"/>
              <a:t>unga</a:t>
            </a:r>
            <a:endParaRPr lang="fi-FI" sz="3600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B28D232E-97D0-544F-CF75-53E01AF786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27707" y="1887290"/>
            <a:ext cx="8146630" cy="2617338"/>
          </a:xfrm>
        </p:spPr>
        <p:txBody>
          <a:bodyPr>
            <a:normAutofit fontScale="85000" lnSpcReduction="20000"/>
          </a:bodyPr>
          <a:lstStyle/>
          <a:p>
            <a:pPr algn="l">
              <a:spcBef>
                <a:spcPts val="0"/>
              </a:spcBef>
              <a:spcAft>
                <a:spcPts val="1200"/>
              </a:spcAft>
            </a:pPr>
            <a:r>
              <a:rPr lang="sv-FI" sz="2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aterialet för ungdomar kommer att innehålla idéer hur de unga kan samla in pengar för Utjämningen. </a:t>
            </a:r>
          </a:p>
          <a:p>
            <a:pPr algn="l">
              <a:spcBef>
                <a:spcPts val="0"/>
              </a:spcBef>
              <a:spcAft>
                <a:spcPts val="1200"/>
              </a:spcAft>
            </a:pPr>
            <a:r>
              <a:rPr lang="sv-FI" sz="2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 unga kan ordna en filmkväll kring dokumentärfilmen </a:t>
            </a:r>
            <a:r>
              <a:rPr lang="sv-FI" sz="26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Luomakunnan</a:t>
            </a:r>
            <a:r>
              <a:rPr lang="sv-FI" sz="2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sv-FI" sz="26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tijat</a:t>
            </a:r>
            <a:r>
              <a:rPr lang="sv-FI" sz="2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(finsk och engelsk textning). Utgående från filmens tema och Missionssällskapets arbete görs ett diskussionsmaterial kring ämnet klimaträttvisa. </a:t>
            </a:r>
          </a:p>
          <a:p>
            <a:pPr algn="l">
              <a:spcBef>
                <a:spcPts val="0"/>
              </a:spcBef>
              <a:spcAft>
                <a:spcPts val="1200"/>
              </a:spcAft>
            </a:pPr>
            <a:r>
              <a:rPr lang="sv-FI" sz="2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 kommer även att framställas Utjämningsmaterial som passar för grundskolans högre årskurser och gymnasiet. </a:t>
            </a:r>
          </a:p>
          <a:p>
            <a:endParaRPr lang="sv-FI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92894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A49E0A9-6A05-6599-D4FF-F41E6EFFAE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92428" y="123767"/>
            <a:ext cx="6102081" cy="1057031"/>
          </a:xfrm>
        </p:spPr>
        <p:txBody>
          <a:bodyPr>
            <a:normAutofit/>
          </a:bodyPr>
          <a:lstStyle/>
          <a:p>
            <a:pPr algn="l"/>
            <a:r>
              <a:rPr lang="fi-FI" sz="3600" dirty="0"/>
              <a:t>För </a:t>
            </a:r>
            <a:r>
              <a:rPr lang="fi-FI" sz="3600" dirty="0" err="1"/>
              <a:t>vuxna</a:t>
            </a:r>
            <a:endParaRPr lang="fi-FI" sz="3600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72EB1A0-98C5-CB1C-E390-BFBD9C2378B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92428" y="1409484"/>
            <a:ext cx="9502120" cy="3066284"/>
          </a:xfrm>
        </p:spPr>
        <p:txBody>
          <a:bodyPr>
            <a:noAutofit/>
          </a:bodyPr>
          <a:lstStyle/>
          <a:p>
            <a:pPr marL="285750" indent="-285750" algn="l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sv-FI" sz="23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 introduktion till Utjämningens teologi inklusive frågor att reflektera över.</a:t>
            </a:r>
          </a:p>
          <a:p>
            <a:pPr marL="285750" indent="-28575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FI" sz="23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tt materialpaket med rubriken </a:t>
            </a:r>
            <a:r>
              <a:rPr lang="sv-FI" sz="23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årt gemensamma bröd</a:t>
            </a:r>
            <a:r>
              <a:rPr lang="sv-FI" sz="23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innehållande:</a:t>
            </a:r>
            <a:endParaRPr lang="sv-FI" sz="2300" i="1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74638" lvl="1" algn="l" fontAlgn="base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sv-FI" sz="23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resentation (</a:t>
            </a:r>
            <a:r>
              <a:rPr lang="sv-FI" sz="2300" b="0" i="0" u="none" strike="noStrike" dirty="0" err="1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ppt</a:t>
            </a:r>
            <a:r>
              <a:rPr lang="sv-FI" sz="23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r>
              <a:rPr lang="sv-FI" sz="23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</a:t>
            </a:r>
            <a:br>
              <a:rPr lang="sv-FI" sz="23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sv-FI" sz="2300" b="0" i="0" dirty="0" err="1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Bildbank</a:t>
            </a:r>
            <a:br>
              <a:rPr lang="sv-FI" sz="23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sv-FI" sz="23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Bönekort</a:t>
            </a:r>
            <a:r>
              <a:rPr lang="sv-FI" sz="23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sv-FI" sz="23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sv-FI" sz="23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ndaktsvideo </a:t>
            </a:r>
            <a:br>
              <a:rPr lang="sv-FI" sz="23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sv-FI" sz="23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ecept (nattvardsbröd</a:t>
            </a:r>
            <a:r>
              <a:rPr lang="sv-FI" sz="23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, </a:t>
            </a:r>
            <a:r>
              <a:rPr lang="sv-FI" sz="2300" b="0" i="0" dirty="0" err="1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</a:t>
            </a:r>
            <a:r>
              <a:rPr lang="sv-FI" sz="2300" b="0" i="0" u="none" strike="noStrike" dirty="0" err="1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ccacia</a:t>
            </a:r>
            <a:r>
              <a:rPr lang="sv-FI" sz="23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, </a:t>
            </a:r>
            <a:r>
              <a:rPr lang="sv-FI" sz="2300" b="0" i="0" dirty="0" err="1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sv-FI" sz="2300" b="0" i="0" u="none" strike="noStrike" dirty="0" err="1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jera</a:t>
            </a:r>
            <a:r>
              <a:rPr lang="sv-FI" sz="23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, </a:t>
            </a:r>
            <a:r>
              <a:rPr lang="sv-FI" sz="2300" b="0" i="0" dirty="0" err="1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</a:t>
            </a:r>
            <a:r>
              <a:rPr lang="sv-FI" sz="2300" b="0" i="0" u="none" strike="noStrike" dirty="0" err="1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an</a:t>
            </a:r>
            <a:r>
              <a:rPr lang="sv-FI" sz="23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)</a:t>
            </a:r>
            <a:br>
              <a:rPr lang="sv-FI" sz="23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sv-FI" sz="23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Verksamhetsidéer</a:t>
            </a:r>
            <a:r>
              <a:rPr lang="sv-FI" sz="23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(bakning tillsammans, tillverkning av brödpåsar</a:t>
            </a:r>
            <a:r>
              <a:rPr lang="sv-FI" sz="2300" dirty="0">
                <a:solidFill>
                  <a:srgbClr val="0C0C0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.m.</a:t>
            </a:r>
            <a:r>
              <a:rPr lang="sv-FI" sz="23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endParaRPr lang="sv-FI" sz="2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56946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9375BC0E-2A7F-960C-1470-AEF86A5017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797" y="9342"/>
            <a:ext cx="7472471" cy="1289043"/>
          </a:xfrm>
        </p:spPr>
        <p:txBody>
          <a:bodyPr>
            <a:normAutofit/>
          </a:bodyPr>
          <a:lstStyle/>
          <a:p>
            <a:pPr algn="r"/>
            <a:r>
              <a:rPr lang="fi-FI" sz="3600" dirty="0" err="1"/>
              <a:t>Församlingarnas</a:t>
            </a:r>
            <a:r>
              <a:rPr lang="fi-FI" sz="3600" dirty="0"/>
              <a:t> </a:t>
            </a:r>
            <a:r>
              <a:rPr lang="fi-FI" sz="3600" dirty="0" err="1"/>
              <a:t>idéer</a:t>
            </a:r>
            <a:r>
              <a:rPr lang="fi-FI" sz="3600" dirty="0"/>
              <a:t> </a:t>
            </a:r>
            <a:r>
              <a:rPr lang="fi-FI" sz="3600" dirty="0" err="1"/>
              <a:t>lyfts</a:t>
            </a:r>
            <a:r>
              <a:rPr lang="fi-FI" sz="3600" dirty="0"/>
              <a:t> </a:t>
            </a:r>
            <a:r>
              <a:rPr lang="fi-FI" sz="3600" dirty="0" err="1"/>
              <a:t>fram</a:t>
            </a:r>
            <a:endParaRPr lang="fi-FI" sz="3600" dirty="0"/>
          </a:p>
        </p:txBody>
      </p:sp>
      <p:pic>
        <p:nvPicPr>
          <p:cNvPr id="3" name="Picture 8">
            <a:extLst>
              <a:ext uri="{FF2B5EF4-FFF2-40B4-BE49-F238E27FC236}">
                <a16:creationId xmlns:a16="http://schemas.microsoft.com/office/drawing/2014/main" id="{9E179967-EA77-EA8A-641C-305CD97ED1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94831" y="713152"/>
            <a:ext cx="3269554" cy="4357637"/>
          </a:xfrm>
          <a:prstGeom prst="rect">
            <a:avLst/>
          </a:prstGeom>
        </p:spPr>
      </p:pic>
      <p:pic>
        <p:nvPicPr>
          <p:cNvPr id="4" name="Picture 9">
            <a:extLst>
              <a:ext uri="{FF2B5EF4-FFF2-40B4-BE49-F238E27FC236}">
                <a16:creationId xmlns:a16="http://schemas.microsoft.com/office/drawing/2014/main" id="{D8C40784-4F60-6372-36B6-0D3CD91924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25499" y="1683657"/>
            <a:ext cx="4498193" cy="3372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8236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in paikkamerkki 4">
            <a:extLst>
              <a:ext uri="{FF2B5EF4-FFF2-40B4-BE49-F238E27FC236}">
                <a16:creationId xmlns:a16="http://schemas.microsoft.com/office/drawing/2014/main" id="{6C66CB21-53C0-D442-CD72-200E1F6099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02006" y="2226771"/>
            <a:ext cx="7301552" cy="2713718"/>
          </a:xfrm>
          <a:effectLst/>
        </p:spPr>
        <p:txBody>
          <a:bodyPr>
            <a:noAutofit/>
          </a:bodyPr>
          <a:lstStyle/>
          <a:p>
            <a:r>
              <a:rPr lang="sv-SE" sz="44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ör en rättvisare, ljusare </a:t>
            </a:r>
          </a:p>
          <a:p>
            <a:r>
              <a:rPr lang="sv-SE" sz="44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h vänligare värld.</a:t>
            </a:r>
            <a:endParaRPr lang="fi-FI" sz="4400" dirty="0"/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F5D1C075-D6F7-25DC-430B-21DC896AFA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15150" y="859811"/>
            <a:ext cx="8591589" cy="1310185"/>
          </a:xfrm>
          <a:effectLst/>
        </p:spPr>
        <p:txBody>
          <a:bodyPr>
            <a:noAutofit/>
          </a:bodyPr>
          <a:lstStyle/>
          <a:p>
            <a:r>
              <a:rPr lang="fi-FI" sz="6600" dirty="0">
                <a:latin typeface="Calibri" panose="020F0502020204030204" pitchFamily="34" charset="0"/>
                <a:cs typeface="Calibri" panose="020F0502020204030204" pitchFamily="34" charset="0"/>
              </a:rPr>
              <a:t>UTJÄMNING</a:t>
            </a:r>
          </a:p>
        </p:txBody>
      </p:sp>
    </p:spTree>
    <p:extLst>
      <p:ext uri="{BB962C8B-B14F-4D97-AF65-F5344CB8AC3E}">
        <p14:creationId xmlns:p14="http://schemas.microsoft.com/office/powerpoint/2010/main" val="25909089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121DF19-0DBF-4553-FFA4-41C7D222FF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15440" y="1371529"/>
            <a:ext cx="9560560" cy="2550102"/>
          </a:xfrm>
        </p:spPr>
        <p:txBody>
          <a:bodyPr>
            <a:noAutofit/>
          </a:bodyPr>
          <a:lstStyle/>
          <a:p>
            <a:r>
              <a:rPr lang="sv-FI" sz="24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vå gånge</a:t>
            </a:r>
            <a:r>
              <a:rPr lang="sv-FI" sz="2400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 om året, vid vår- och </a:t>
            </a:r>
            <a:r>
              <a:rPr lang="sv-FI" sz="2400" i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östdagjämning, fördelar sig ljuset jämnt över jorden. Men inte ens då fördelas det globala välmåendet rättvist. </a:t>
            </a:r>
          </a:p>
          <a:p>
            <a:r>
              <a:rPr lang="sv-FI" sz="2400" i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tjämningskampanjen, som särskilt lyfts fram kring dessa två dagar, </a:t>
            </a:r>
            <a:r>
              <a:rPr lang="sv-FI" sz="24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tmanar oss att se på världen i nytt ljus och att verka för en rättvisare värld. </a:t>
            </a:r>
            <a:r>
              <a:rPr lang="sv-FI" sz="24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d hjälp av stödet från Utjämningen utrustar vi </a:t>
            </a:r>
            <a:r>
              <a:rPr lang="sv-FI" sz="2400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amhällen och grupper </a:t>
            </a:r>
            <a:r>
              <a:rPr lang="sv-FI" sz="2400" i="1" dirty="0">
                <a:latin typeface="Calibri" panose="020F0502020204030204" pitchFamily="34" charset="0"/>
                <a:ea typeface="Calibri" panose="020F0502020204030204" pitchFamily="34" charset="0"/>
              </a:rPr>
              <a:t>runtom i vår värld, </a:t>
            </a:r>
            <a:r>
              <a:rPr lang="sv-FI" sz="2400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å att de kan bygga sig en bättre framtid. </a:t>
            </a:r>
            <a:br>
              <a:rPr lang="sv-FI" sz="2400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sv-FI" sz="2400" i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Kom med och jämna ut välmåendet så att det räcker åt alla. </a:t>
            </a:r>
            <a:endParaRPr lang="sv-FI" sz="240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03415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1">
            <a:extLst>
              <a:ext uri="{FF2B5EF4-FFF2-40B4-BE49-F238E27FC236}">
                <a16:creationId xmlns:a16="http://schemas.microsoft.com/office/drawing/2014/main" id="{258D996F-4C6C-A902-B44F-2E026C8F8645}"/>
              </a:ext>
            </a:extLst>
          </p:cNvPr>
          <p:cNvSpPr txBox="1">
            <a:spLocks/>
          </p:cNvSpPr>
          <p:nvPr/>
        </p:nvSpPr>
        <p:spPr>
          <a:xfrm>
            <a:off x="1611825" y="577684"/>
            <a:ext cx="9051631" cy="105703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4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FI" sz="3400" dirty="0"/>
              <a:t>Varje människa är en avbild av Gud</a:t>
            </a:r>
          </a:p>
        </p:txBody>
      </p:sp>
      <p:sp>
        <p:nvSpPr>
          <p:cNvPr id="5" name="Tekstin paikkamerkki 2">
            <a:extLst>
              <a:ext uri="{FF2B5EF4-FFF2-40B4-BE49-F238E27FC236}">
                <a16:creationId xmlns:a16="http://schemas.microsoft.com/office/drawing/2014/main" id="{F583DD7C-CC28-7357-614F-21E956A46C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9272" y="1812433"/>
            <a:ext cx="10578164" cy="2471795"/>
          </a:xfrm>
        </p:spPr>
        <p:txBody>
          <a:bodyPr>
            <a:noAutofit/>
          </a:bodyPr>
          <a:lstStyle/>
          <a:p>
            <a:pPr>
              <a:lnSpc>
                <a:spcPct val="106000"/>
              </a:lnSpc>
              <a:spcAft>
                <a:spcPts val="800"/>
              </a:spcAft>
            </a:pPr>
            <a:r>
              <a:rPr lang="sv-FI" sz="23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 gåvor vi har fått av Gud bör vi fördela ansvarsfullt över generations-, samhälleliga </a:t>
            </a:r>
            <a:br>
              <a:rPr lang="sv-FI" sz="23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sv-FI" sz="23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ch geografiska gränser, så att alla har de nödvändiga förutsättningarna för ett gott liv</a:t>
            </a:r>
            <a:r>
              <a:rPr lang="sv-FI" sz="23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</a:t>
            </a:r>
            <a:br>
              <a:rPr lang="sv-FI" sz="23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sv-FI" sz="23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n gyllene regeln som Jesus undervisade om, uppmanar oss att sätta oss in i </a:t>
            </a:r>
            <a:br>
              <a:rPr lang="sv-FI" sz="23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sv-FI" sz="23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 annan människas situation och kallar oss till att leva ansvarsfullt och </a:t>
            </a:r>
            <a:br>
              <a:rPr lang="sv-FI" sz="23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sv-FI" sz="23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 solidaritet med människor som befinner sig i en mer utsatt ställning. </a:t>
            </a:r>
            <a:br>
              <a:rPr lang="sv-FI" sz="2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sv-FI" sz="2200" i="1" spc="-1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”A</a:t>
            </a:r>
            <a:r>
              <a:rPr lang="sv-FI" sz="2200" i="1" spc="-10" dirty="0">
                <a:latin typeface="Calibri" panose="020F0502020204030204" pitchFamily="34" charset="0"/>
                <a:cs typeface="Calibri" panose="020F0502020204030204" pitchFamily="34" charset="0"/>
              </a:rPr>
              <a:t>llt vad ni vill att människorna skall göra för er, det skall ni också göra för dem.</a:t>
            </a:r>
            <a:r>
              <a:rPr lang="sv-FI" sz="2200" i="1" spc="-1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” </a:t>
            </a:r>
            <a:r>
              <a:rPr lang="sv-FI" i="1" spc="-2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Matt 7:12) </a:t>
            </a:r>
          </a:p>
        </p:txBody>
      </p:sp>
    </p:spTree>
    <p:extLst>
      <p:ext uri="{BB962C8B-B14F-4D97-AF65-F5344CB8AC3E}">
        <p14:creationId xmlns:p14="http://schemas.microsoft.com/office/powerpoint/2010/main" val="16120066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tsikko 1">
            <a:extLst>
              <a:ext uri="{FF2B5EF4-FFF2-40B4-BE49-F238E27FC236}">
                <a16:creationId xmlns:a16="http://schemas.microsoft.com/office/drawing/2014/main" id="{20AA12FD-DFC4-F8AB-75A8-4A2412EEDE7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82923" y="178935"/>
            <a:ext cx="9051631" cy="1057031"/>
          </a:xfrm>
        </p:spPr>
        <p:txBody>
          <a:bodyPr>
            <a:normAutofit/>
          </a:bodyPr>
          <a:lstStyle/>
          <a:p>
            <a:r>
              <a:rPr lang="fi-FI" sz="3600" dirty="0" err="1"/>
              <a:t>Tillsammans</a:t>
            </a:r>
            <a:r>
              <a:rPr lang="fi-FI" sz="3600" dirty="0"/>
              <a:t> för en </a:t>
            </a:r>
            <a:r>
              <a:rPr lang="fi-FI" sz="3600" dirty="0" err="1"/>
              <a:t>rättvisare</a:t>
            </a:r>
            <a:r>
              <a:rPr lang="fi-FI" sz="3600" dirty="0"/>
              <a:t> </a:t>
            </a:r>
            <a:r>
              <a:rPr lang="fi-FI" sz="3600" dirty="0" err="1"/>
              <a:t>värld</a:t>
            </a:r>
            <a:endParaRPr lang="fi-FI" sz="3600" dirty="0"/>
          </a:p>
        </p:txBody>
      </p:sp>
      <p:sp>
        <p:nvSpPr>
          <p:cNvPr id="10" name="Tekstin paikkamerkki 2">
            <a:extLst>
              <a:ext uri="{FF2B5EF4-FFF2-40B4-BE49-F238E27FC236}">
                <a16:creationId xmlns:a16="http://schemas.microsoft.com/office/drawing/2014/main" id="{6FD7C88D-A6B6-E95B-8196-3B70621FD6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7148" y="1429601"/>
            <a:ext cx="9711887" cy="3074538"/>
          </a:xfrm>
        </p:spPr>
        <p:txBody>
          <a:bodyPr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v-SE" sz="23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 mer rättvis värld byggs via utvecklingssamarbete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v-SE" sz="23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i arbetar för att mänskliga rättigheter skall förverkligas även bland de mest utsatta människorna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v-SE" sz="23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ck vare vårt stöd kan människor i utvecklingsländer förbättra sina levnadsvillkor. Människor får till exempel utbildning om sina rättigheter, klimatsmarta jordbruksmetoder, småföretagande och utbildning på sitt eget modersmål.</a:t>
            </a:r>
            <a:endParaRPr lang="sv-FI" sz="2300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25022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1">
            <a:extLst>
              <a:ext uri="{FF2B5EF4-FFF2-40B4-BE49-F238E27FC236}">
                <a16:creationId xmlns:a16="http://schemas.microsoft.com/office/drawing/2014/main" id="{BC7B35E1-46E6-23EE-ABC6-A06D857B5C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6019" y="403727"/>
            <a:ext cx="10499959" cy="1057031"/>
          </a:xfrm>
        </p:spPr>
        <p:txBody>
          <a:bodyPr>
            <a:normAutofit/>
          </a:bodyPr>
          <a:lstStyle/>
          <a:p>
            <a:r>
              <a:rPr lang="sv-FI" sz="3600" dirty="0"/>
              <a:t>Utjämningen hjälper runtom i världen</a:t>
            </a:r>
          </a:p>
        </p:txBody>
      </p:sp>
      <p:sp>
        <p:nvSpPr>
          <p:cNvPr id="5" name="Tekstin paikkamerkki 2">
            <a:extLst>
              <a:ext uri="{FF2B5EF4-FFF2-40B4-BE49-F238E27FC236}">
                <a16:creationId xmlns:a16="http://schemas.microsoft.com/office/drawing/2014/main" id="{FE5494B2-5E44-A57A-C30B-7DF5543F85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93962" y="1716015"/>
            <a:ext cx="10052016" cy="2646949"/>
          </a:xfrm>
        </p:spPr>
        <p:txBody>
          <a:bodyPr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i-FI" sz="23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jämningen</a:t>
            </a:r>
            <a:r>
              <a:rPr lang="fi-FI" sz="23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sv-SE" sz="23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mlar in medel till Finska Missionssällskapets utvecklingssamarbete.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v-SE" sz="23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 arbetar bland de fattigaste och mest diskriminerade människorna. Särskilt utsatta grupper är till exempel personer med funktionsnedsättning, etniska, språkliga och andra minoriteter, personer som diskrimineras </a:t>
            </a:r>
            <a:r>
              <a:rPr lang="sv-SE" sz="23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.g.a</a:t>
            </a:r>
            <a:r>
              <a:rPr lang="sv-SE" sz="23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kasttillhörighet, ursprungsfolk samt kvinnor och barn. Vi påverkar också beslutsfattare i utvecklingsländer så att de tar sitt ansvar för mänskliga rättigheter.</a:t>
            </a:r>
            <a:endParaRPr lang="sv-FI" sz="23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5856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9391D5-7E12-DC85-D50A-B9843CE57F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3">
            <a:extLst>
              <a:ext uri="{FF2B5EF4-FFF2-40B4-BE49-F238E27FC236}">
                <a16:creationId xmlns:a16="http://schemas.microsoft.com/office/drawing/2014/main" id="{8C8F4584-7F06-184D-D584-B6063D3AF6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13300" y="0"/>
            <a:ext cx="10575235" cy="1310185"/>
          </a:xfrm>
          <a:effectLst/>
        </p:spPr>
        <p:txBody>
          <a:bodyPr>
            <a:noAutofit/>
          </a:bodyPr>
          <a:lstStyle/>
          <a:p>
            <a:r>
              <a:rPr lang="fi-FI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Vad</a:t>
            </a:r>
            <a:r>
              <a:rPr lang="fi-FI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i-FI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är</a:t>
            </a:r>
            <a:r>
              <a:rPr lang="fi-FI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i-FI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utgångsläget</a:t>
            </a:r>
            <a:r>
              <a:rPr lang="fi-FI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i-FI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då</a:t>
            </a:r>
            <a:r>
              <a:rPr lang="fi-FI" sz="2800" dirty="0">
                <a:latin typeface="Calibri" panose="020F0502020204030204" pitchFamily="34" charset="0"/>
                <a:cs typeface="Calibri" panose="020F0502020204030204" pitchFamily="34" charset="0"/>
              </a:rPr>
              <a:t> vi </a:t>
            </a:r>
            <a:r>
              <a:rPr lang="fi-FI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påbörjar</a:t>
            </a:r>
            <a:r>
              <a:rPr lang="fi-FI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i-FI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utvecklingssamarbete</a:t>
            </a:r>
            <a:r>
              <a:rPr lang="fi-FI" sz="2800" dirty="0">
                <a:latin typeface="Calibri" panose="020F0502020204030204" pitchFamily="34" charset="0"/>
                <a:cs typeface="Calibri" panose="020F0502020204030204" pitchFamily="34" charset="0"/>
              </a:rPr>
              <a:t>? </a:t>
            </a:r>
            <a:br>
              <a:rPr lang="fi-FI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fi-FI" sz="2800" dirty="0">
                <a:latin typeface="Calibri" panose="020F0502020204030204" pitchFamily="34" charset="0"/>
                <a:cs typeface="Calibri" panose="020F0502020204030204" pitchFamily="34" charset="0"/>
              </a:rPr>
              <a:t>Se </a:t>
            </a:r>
            <a:r>
              <a:rPr lang="fi-FI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vår</a:t>
            </a:r>
            <a:r>
              <a:rPr lang="fi-FI" sz="2800" dirty="0">
                <a:latin typeface="Calibri" panose="020F0502020204030204" pitchFamily="34" charset="0"/>
                <a:cs typeface="Calibri" panose="020F0502020204030204" pitchFamily="34" charset="0"/>
              </a:rPr>
              <a:t> video </a:t>
            </a:r>
            <a:r>
              <a:rPr lang="fi-FI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från</a:t>
            </a:r>
            <a:r>
              <a:rPr lang="fi-FI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i-FI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västra</a:t>
            </a:r>
            <a:r>
              <a:rPr lang="fi-FI" sz="2800" dirty="0">
                <a:latin typeface="Calibri" panose="020F0502020204030204" pitchFamily="34" charset="0"/>
                <a:cs typeface="Calibri" panose="020F0502020204030204" pitchFamily="34" charset="0"/>
              </a:rPr>
              <a:t> Nepal. </a:t>
            </a:r>
          </a:p>
        </p:txBody>
      </p:sp>
      <p:pic>
        <p:nvPicPr>
          <p:cNvPr id="9" name="Online-media 8" title="Varför inleds arbetet? Utgångspunkten för utvecklingssamarbete i Jajarkot i västra Nepal">
            <a:hlinkClick r:id="" action="ppaction://media"/>
            <a:extLst>
              <a:ext uri="{FF2B5EF4-FFF2-40B4-BE49-F238E27FC236}">
                <a16:creationId xmlns:a16="http://schemas.microsoft.com/office/drawing/2014/main" id="{2881963F-6375-C294-38DB-8E393CF9F313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3418795" y="1609539"/>
            <a:ext cx="5506544" cy="3108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9269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tsikko 1">
            <a:extLst>
              <a:ext uri="{FF2B5EF4-FFF2-40B4-BE49-F238E27FC236}">
                <a16:creationId xmlns:a16="http://schemas.microsoft.com/office/drawing/2014/main" id="{E72D560D-89FE-421B-D010-85AC45023D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184935" y="991564"/>
            <a:ext cx="8276396" cy="962366"/>
          </a:xfrm>
        </p:spPr>
        <p:txBody>
          <a:bodyPr>
            <a:normAutofit/>
          </a:bodyPr>
          <a:lstStyle/>
          <a:p>
            <a:pPr algn="l"/>
            <a:r>
              <a:rPr lang="sv-FI" sz="3800" dirty="0"/>
              <a:t>Kampanjmaterial</a:t>
            </a:r>
          </a:p>
        </p:txBody>
      </p:sp>
      <p:sp>
        <p:nvSpPr>
          <p:cNvPr id="14" name="Tekstin paikkamerkki 2">
            <a:extLst>
              <a:ext uri="{FF2B5EF4-FFF2-40B4-BE49-F238E27FC236}">
                <a16:creationId xmlns:a16="http://schemas.microsoft.com/office/drawing/2014/main" id="{AF265C00-3110-7777-DCD4-F099D75A8E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74626" y="2303312"/>
            <a:ext cx="7889651" cy="2419470"/>
          </a:xfrm>
        </p:spPr>
        <p:txBody>
          <a:bodyPr>
            <a:normAutofit/>
          </a:bodyPr>
          <a:lstStyle/>
          <a:p>
            <a:pPr marL="285750" indent="-285750" algn="l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sv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skrivbara affischer och broschyrer</a:t>
            </a:r>
          </a:p>
          <a:p>
            <a:pPr marL="285750" indent="-285750" algn="l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sv-FI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ottnar för prislappar för basarer, marknader och liknande </a:t>
            </a:r>
          </a:p>
          <a:p>
            <a:pPr marL="285750" indent="-285750" algn="l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sv-FI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jämningsbanners och -bilder för sociala medier</a:t>
            </a:r>
            <a:endParaRPr lang="sv-FI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21765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1">
            <a:extLst>
              <a:ext uri="{FF2B5EF4-FFF2-40B4-BE49-F238E27FC236}">
                <a16:creationId xmlns:a16="http://schemas.microsoft.com/office/drawing/2014/main" id="{05654B5F-A81C-321E-ACF2-E1806D43C4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66933" y="789432"/>
            <a:ext cx="8263692" cy="1057031"/>
          </a:xfrm>
        </p:spPr>
        <p:txBody>
          <a:bodyPr>
            <a:normAutofit/>
          </a:bodyPr>
          <a:lstStyle/>
          <a:p>
            <a:r>
              <a:rPr lang="fi-FI" sz="3800" dirty="0" err="1"/>
              <a:t>Material</a:t>
            </a:r>
            <a:r>
              <a:rPr lang="fi-FI" sz="3800" dirty="0"/>
              <a:t> för </a:t>
            </a:r>
            <a:r>
              <a:rPr lang="fi-FI" sz="3800" dirty="0" err="1"/>
              <a:t>församlingar</a:t>
            </a:r>
            <a:endParaRPr lang="fi-FI" sz="3800" dirty="0"/>
          </a:p>
        </p:txBody>
      </p:sp>
      <p:sp>
        <p:nvSpPr>
          <p:cNvPr id="5" name="Tekstin paikkamerkki 2">
            <a:extLst>
              <a:ext uri="{FF2B5EF4-FFF2-40B4-BE49-F238E27FC236}">
                <a16:creationId xmlns:a16="http://schemas.microsoft.com/office/drawing/2014/main" id="{8D5B6CBA-59B2-10CA-51D3-A6FC3C914B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36126" y="2101185"/>
            <a:ext cx="8486507" cy="2419470"/>
          </a:xfrm>
        </p:spPr>
        <p:txBody>
          <a:bodyPr>
            <a:normAutofit/>
          </a:bodyPr>
          <a:lstStyle/>
          <a:p>
            <a:pPr marL="285750" indent="-28575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sv-FI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aterial kommer särskilt att produceras med tanke på följande målgrupper: 12–14-åringar, unga som nyligen gått skriftskolan samt vuxna som vill påverka och göra gott. </a:t>
            </a:r>
          </a:p>
          <a:p>
            <a:pPr marL="285750" indent="-285750" algn="l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sv-FI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aterialet finns tillgängligt på våra webbsidor </a:t>
            </a:r>
            <a:r>
              <a:rPr lang="sv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hlinkClick r:id="rId2"/>
              </a:rPr>
              <a:t>www.utjämning.fi</a:t>
            </a:r>
            <a:r>
              <a:rPr lang="sv-FI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7648074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1">
            <a:extLst>
              <a:ext uri="{FF2B5EF4-FFF2-40B4-BE49-F238E27FC236}">
                <a16:creationId xmlns:a16="http://schemas.microsoft.com/office/drawing/2014/main" id="{D179465A-4B69-4F07-9242-E78B779781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6284" y="76153"/>
            <a:ext cx="4779196" cy="1057031"/>
          </a:xfrm>
        </p:spPr>
        <p:txBody>
          <a:bodyPr>
            <a:normAutofit/>
          </a:bodyPr>
          <a:lstStyle/>
          <a:p>
            <a:r>
              <a:rPr lang="fi-FI" sz="3500" dirty="0"/>
              <a:t>För 12-14-åringar</a:t>
            </a:r>
          </a:p>
        </p:txBody>
      </p:sp>
      <p:sp>
        <p:nvSpPr>
          <p:cNvPr id="5" name="Tekstin paikkamerkki 2">
            <a:extLst>
              <a:ext uri="{FF2B5EF4-FFF2-40B4-BE49-F238E27FC236}">
                <a16:creationId xmlns:a16="http://schemas.microsoft.com/office/drawing/2014/main" id="{74E136F4-71C8-C055-2D92-4E3CD147303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03600" y="1992430"/>
            <a:ext cx="8393224" cy="3547433"/>
          </a:xfrm>
        </p:spPr>
        <p:txBody>
          <a:bodyPr>
            <a:normAutofit fontScale="70000" lnSpcReduction="20000"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sv-FI" sz="3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tt </a:t>
            </a:r>
            <a:r>
              <a:rPr lang="sv-FI" sz="31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scapeRoom</a:t>
            </a:r>
            <a:r>
              <a:rPr lang="sv-FI" sz="3100" dirty="0">
                <a:latin typeface="Calibri" panose="020F0502020204030204" pitchFamily="34" charset="0"/>
                <a:ea typeface="Calibri" panose="020F0502020204030204" pitchFamily="34" charset="0"/>
              </a:rPr>
              <a:t>-spel </a:t>
            </a:r>
            <a:r>
              <a:rPr lang="sv-FI" sz="3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om kan användas på En natt i kyrkan-evenemang, under skolbesök eller lite varsomhelst. </a:t>
            </a:r>
          </a:p>
          <a:p>
            <a:pPr marL="360363" lvl="0" indent="-360363" algn="l">
              <a:lnSpc>
                <a:spcPct val="110000"/>
              </a:lnSpc>
              <a:spcBef>
                <a:spcPts val="0"/>
              </a:spcBef>
              <a:buFont typeface="+mj-lt"/>
              <a:buAutoNum type="arabicPeriod"/>
            </a:pPr>
            <a:r>
              <a:rPr lang="sv-FI" sz="31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tart: avfärd från Finland</a:t>
            </a:r>
            <a:endParaRPr lang="sv-FI" sz="3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 algn="l">
              <a:lnSpc>
                <a:spcPct val="110000"/>
              </a:lnSpc>
              <a:spcBef>
                <a:spcPts val="0"/>
              </a:spcBef>
              <a:buFont typeface="+mj-lt"/>
              <a:buAutoNum type="arabicPeriod"/>
            </a:pPr>
            <a:r>
              <a:rPr lang="sv-FI" sz="31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Kambodja: att färdas på floden Mekong, trygg livsmedelsförsörjning</a:t>
            </a:r>
            <a:endParaRPr lang="sv-FI" sz="3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 algn="l">
              <a:lnSpc>
                <a:spcPct val="110000"/>
              </a:lnSpc>
              <a:spcBef>
                <a:spcPts val="0"/>
              </a:spcBef>
              <a:buFont typeface="+mj-lt"/>
              <a:buAutoNum type="arabicPeriod"/>
            </a:pPr>
            <a:r>
              <a:rPr lang="sv-FI" sz="31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olombia: ridning i bergen</a:t>
            </a:r>
            <a:r>
              <a:rPr lang="sv-FI" sz="3100" dirty="0">
                <a:latin typeface="Calibri" panose="020F0502020204030204" pitchFamily="34" charset="0"/>
                <a:ea typeface="Times New Roman" panose="02020603050405020304" pitchFamily="18" charset="0"/>
              </a:rPr>
              <a:t>, skolgång och faddrar</a:t>
            </a:r>
            <a:endParaRPr lang="sv-FI" sz="3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 algn="l">
              <a:lnSpc>
                <a:spcPct val="110000"/>
              </a:lnSpc>
              <a:spcBef>
                <a:spcPts val="0"/>
              </a:spcBef>
              <a:buFont typeface="+mj-lt"/>
              <a:buAutoNum type="arabicPeriod"/>
            </a:pPr>
            <a:r>
              <a:rPr lang="sv-FI" sz="31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alestina: fredsfostran i skolan i en palestinsk by</a:t>
            </a:r>
            <a:endParaRPr lang="sv-FI" sz="3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 algn="l">
              <a:lnSpc>
                <a:spcPct val="110000"/>
              </a:lnSpc>
              <a:spcBef>
                <a:spcPts val="0"/>
              </a:spcBef>
              <a:buFont typeface="+mj-lt"/>
              <a:buAutoNum type="arabicPeriod"/>
            </a:pPr>
            <a:r>
              <a:rPr lang="sv-FI" sz="31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Hemfärd, passet är försvunnet: medborgarskap</a:t>
            </a:r>
            <a:endParaRPr lang="sv-FI" sz="31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60363" algn="l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r>
              <a:rPr lang="sv-FI" sz="3100" dirty="0">
                <a:latin typeface="Calibri" panose="020F0502020204030204" pitchFamily="34" charset="0"/>
                <a:ea typeface="Calibri" panose="020F0502020204030204" pitchFamily="34" charset="0"/>
              </a:rPr>
              <a:t>Tilläggsuppgift hemma: information om barns rättigheter</a:t>
            </a:r>
            <a:endParaRPr lang="sv-FI" sz="13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sv-FI" sz="31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scapeRoom</a:t>
            </a:r>
            <a:r>
              <a:rPr lang="sv-FI" sz="31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-spelet har även extra uppgifter för medelanskaffning och församlingsverksamhet (lämpar sig inte för skolan). </a:t>
            </a:r>
            <a:endParaRPr lang="sv-FI" sz="3100" dirty="0">
              <a:solidFill>
                <a:schemeClr val="tx1"/>
              </a:solidFill>
            </a:endParaRPr>
          </a:p>
        </p:txBody>
      </p:sp>
      <p:sp>
        <p:nvSpPr>
          <p:cNvPr id="6" name="Tekstin paikkamerkki 2">
            <a:extLst>
              <a:ext uri="{FF2B5EF4-FFF2-40B4-BE49-F238E27FC236}">
                <a16:creationId xmlns:a16="http://schemas.microsoft.com/office/drawing/2014/main" id="{19E6A60B-76FD-1A3D-A5EC-591BED222715}"/>
              </a:ext>
            </a:extLst>
          </p:cNvPr>
          <p:cNvSpPr txBox="1">
            <a:spLocks/>
          </p:cNvSpPr>
          <p:nvPr/>
        </p:nvSpPr>
        <p:spPr>
          <a:xfrm>
            <a:off x="797292" y="1190934"/>
            <a:ext cx="9126355" cy="8009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sv-FI" sz="2200" b="1" dirty="0" err="1">
                <a:latin typeface="Calibri" panose="020F0502020204030204" pitchFamily="34" charset="0"/>
                <a:ea typeface="Calibri" panose="020F0502020204030204" pitchFamily="34" charset="0"/>
              </a:rPr>
              <a:t>YouTubern</a:t>
            </a:r>
            <a:r>
              <a:rPr lang="sv-FI" sz="2200" b="1" dirty="0"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sv-FI" sz="2200" b="1" dirty="0" err="1">
                <a:latin typeface="Calibri" panose="020F0502020204030204" pitchFamily="34" charset="0"/>
                <a:ea typeface="Calibri" panose="020F0502020204030204" pitchFamily="34" charset="0"/>
              </a:rPr>
              <a:t>Myrsky</a:t>
            </a:r>
            <a:r>
              <a:rPr lang="sv-FI" sz="2200" b="1" dirty="0">
                <a:latin typeface="Calibri" panose="020F0502020204030204" pitchFamily="34" charset="0"/>
                <a:ea typeface="Calibri" panose="020F0502020204030204" pitchFamily="34" charset="0"/>
              </a:rPr>
              <a:t> och draken </a:t>
            </a:r>
            <a:r>
              <a:rPr lang="sv-FI" sz="2200" b="1" dirty="0" err="1">
                <a:latin typeface="Calibri" panose="020F0502020204030204" pitchFamily="34" charset="0"/>
                <a:ea typeface="Calibri" panose="020F0502020204030204" pitchFamily="34" charset="0"/>
              </a:rPr>
              <a:t>Savu</a:t>
            </a:r>
            <a:r>
              <a:rPr lang="sv-FI" sz="2200" b="1" dirty="0"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br>
              <a:rPr lang="sv-FI" sz="2200" b="1" dirty="0"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sv-FI" sz="2200" b="1" dirty="0">
                <a:latin typeface="Calibri" panose="020F0502020204030204" pitchFamily="34" charset="0"/>
                <a:ea typeface="Calibri" panose="020F0502020204030204" pitchFamily="34" charset="0"/>
              </a:rPr>
              <a:t>– det är slitsamt att resa, men åtminstone lär man sig om barns rättigheter </a:t>
            </a:r>
            <a:r>
              <a:rPr lang="sv-FI" sz="2200" dirty="0"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9391439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Suomen Lähetysseura">
      <a:dk1>
        <a:srgbClr val="0C0C0C"/>
      </a:dk1>
      <a:lt1>
        <a:srgbClr val="FFFFFF"/>
      </a:lt1>
      <a:dk2>
        <a:srgbClr val="F53246"/>
      </a:dk2>
      <a:lt2>
        <a:srgbClr val="E7E6E6"/>
      </a:lt2>
      <a:accent1>
        <a:srgbClr val="F53246"/>
      </a:accent1>
      <a:accent2>
        <a:srgbClr val="90397B"/>
      </a:accent2>
      <a:accent3>
        <a:srgbClr val="1179A6"/>
      </a:accent3>
      <a:accent4>
        <a:srgbClr val="93CB81"/>
      </a:accent4>
      <a:accent5>
        <a:srgbClr val="F3DF0E"/>
      </a:accent5>
      <a:accent6>
        <a:srgbClr val="FBAFB6"/>
      </a:accent6>
      <a:hlink>
        <a:srgbClr val="0C5272"/>
      </a:hlink>
      <a:folHlink>
        <a:srgbClr val="FBAFB6"/>
      </a:folHlink>
    </a:clrScheme>
    <a:fontScheme name="Mukautettu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ähetysseura_16-9_FIN_malli" id="{96B25E20-5BB7-4816-A895-B7AD00EE9CEC}" vid="{882246F9-928B-42F2-A3E3-31DC8D9B27D3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E5DC34CE36E89F4B92BFA9B82D23A070" ma:contentTypeVersion="16" ma:contentTypeDescription="Luo uusi asiakirja." ma:contentTypeScope="" ma:versionID="91bbc7148be07064bdc86f426d14c278">
  <xsd:schema xmlns:xsd="http://www.w3.org/2001/XMLSchema" xmlns:xs="http://www.w3.org/2001/XMLSchema" xmlns:p="http://schemas.microsoft.com/office/2006/metadata/properties" xmlns:ns2="36c43c7b-f203-4255-9c01-fbfa8f435691" xmlns:ns3="cba8b525-faa7-450e-87ad-219cde38671f" targetNamespace="http://schemas.microsoft.com/office/2006/metadata/properties" ma:root="true" ma:fieldsID="410666f8b4b774e0b8881ef65b5e04e2" ns2:_="" ns3:_="">
    <xsd:import namespace="36c43c7b-f203-4255-9c01-fbfa8f435691"/>
    <xsd:import namespace="cba8b525-faa7-450e-87ad-219cde38671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c43c7b-f203-4255-9c01-fbfa8f4356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Kuvien tunnisteet" ma:readOnly="false" ma:fieldId="{5cf76f15-5ced-4ddc-b409-7134ff3c332f}" ma:taxonomyMulti="true" ma:sspId="bc5903eb-f726-48b2-a5e1-0557bb19de1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a8b525-faa7-450e-87ad-219cde38671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ee7f9ea9-f2b8-4c26-b77f-ec1180490373}" ma:internalName="TaxCatchAll" ma:showField="CatchAllData" ma:web="cba8b525-faa7-450e-87ad-219cde38671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ba8b525-faa7-450e-87ad-219cde38671f" xsi:nil="true"/>
    <lcf76f155ced4ddcb4097134ff3c332f xmlns="36c43c7b-f203-4255-9c01-fbfa8f435691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DAC3F12-13C8-43B8-BEFE-E10027CFBD5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6c43c7b-f203-4255-9c01-fbfa8f435691"/>
    <ds:schemaRef ds:uri="cba8b525-faa7-450e-87ad-219cde38671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461CD85-216E-45FC-AE03-F395A40BCA1E}">
  <ds:schemaRefs>
    <ds:schemaRef ds:uri="http://schemas.microsoft.com/office/2006/metadata/properties"/>
    <ds:schemaRef ds:uri="http://schemas.microsoft.com/office/infopath/2007/PartnerControls"/>
    <ds:schemaRef ds:uri="cba8b525-faa7-450e-87ad-219cde38671f"/>
    <ds:schemaRef ds:uri="36c43c7b-f203-4255-9c01-fbfa8f435691"/>
  </ds:schemaRefs>
</ds:datastoreItem>
</file>

<file path=customXml/itemProps3.xml><?xml version="1.0" encoding="utf-8"?>
<ds:datastoreItem xmlns:ds="http://schemas.openxmlformats.org/officeDocument/2006/customXml" ds:itemID="{7C4994D3-23E9-4CC7-B9CB-2765968795E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166</TotalTime>
  <Words>656</Words>
  <Application>Microsoft Office PowerPoint</Application>
  <PresentationFormat>Laajakuva</PresentationFormat>
  <Paragraphs>41</Paragraphs>
  <Slides>13</Slides>
  <Notes>0</Notes>
  <HiddenSlides>0</HiddenSlides>
  <MMClips>1</MMClips>
  <ScaleCrop>false</ScaleCrop>
  <HeadingPairs>
    <vt:vector size="8" baseType="variant">
      <vt:variant>
        <vt:lpstr>Käytetyt fontit</vt:lpstr>
      </vt:variant>
      <vt:variant>
        <vt:i4>2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3</vt:i4>
      </vt:variant>
    </vt:vector>
  </HeadingPairs>
  <TitlesOfParts>
    <vt:vector size="17" baseType="lpstr">
      <vt:lpstr>Arial</vt:lpstr>
      <vt:lpstr>Calibri</vt:lpstr>
      <vt:lpstr>Office-teema</vt:lpstr>
      <vt:lpstr>think-cell Slide</vt:lpstr>
      <vt:lpstr>PowerPoint-esitys</vt:lpstr>
      <vt:lpstr>PowerPoint-esitys</vt:lpstr>
      <vt:lpstr>PowerPoint-esitys</vt:lpstr>
      <vt:lpstr>Tillsammans för en rättvisare värld</vt:lpstr>
      <vt:lpstr>Utjämningen hjälper runtom i världen</vt:lpstr>
      <vt:lpstr>Vad är utgångsläget då vi påbörjar utvecklingssamarbete?  Se vår video från västra Nepal. </vt:lpstr>
      <vt:lpstr>Kampanjmaterial</vt:lpstr>
      <vt:lpstr>Material för församlingar</vt:lpstr>
      <vt:lpstr>För 12-14-åringar</vt:lpstr>
      <vt:lpstr>För unga</vt:lpstr>
      <vt:lpstr>För vuxna</vt:lpstr>
      <vt:lpstr>Församlingarnas idéer lyfts fram</vt:lpstr>
      <vt:lpstr>UTJÄMN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Peltonen Anna</dc:creator>
  <cp:lastModifiedBy>Lindman Britt-Helen</cp:lastModifiedBy>
  <cp:revision>41</cp:revision>
  <dcterms:created xsi:type="dcterms:W3CDTF">2021-03-29T12:00:14Z</dcterms:created>
  <dcterms:modified xsi:type="dcterms:W3CDTF">2024-03-15T10:37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5DC34CE36E89F4B92BFA9B82D23A070</vt:lpwstr>
  </property>
</Properties>
</file>